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12"/>
  </p:notesMasterIdLst>
  <p:handoutMasterIdLst>
    <p:handoutMasterId r:id="rId13"/>
  </p:handoutMasterIdLst>
  <p:sldIdLst>
    <p:sldId id="430" r:id="rId2"/>
    <p:sldId id="431" r:id="rId3"/>
    <p:sldId id="311" r:id="rId4"/>
    <p:sldId id="432" r:id="rId5"/>
    <p:sldId id="433" r:id="rId6"/>
    <p:sldId id="434" r:id="rId7"/>
    <p:sldId id="435" r:id="rId8"/>
    <p:sldId id="436" r:id="rId9"/>
    <p:sldId id="437" r:id="rId10"/>
    <p:sldId id="429" r:id="rId11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42"/>
    <a:srgbClr val="000000"/>
    <a:srgbClr val="0431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3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14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14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14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4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14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068204-A6FE-F4ED-690E-22872D79D6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34163"/>
            <a:ext cx="9574213" cy="123825"/>
          </a:xfrm>
        </p:spPr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14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529BE8-B3E7-6F8E-75C5-E65F23C8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Zi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4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Prof. Dr. Martin Matzner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7187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14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Prof. Dr. Martin Matzner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14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6</Words>
  <Application>Microsoft Office PowerPoint</Application>
  <PresentationFormat>Breitbild</PresentationFormat>
  <Paragraphs>73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5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Experimente</vt:lpstr>
      <vt:lpstr>Insgesamt werden 3 verschiedene Experimentarten durchgeführ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14T20:56:59Z</dcterms:modified>
</cp:coreProperties>
</file>